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sldIdLst>
    <p:sldId id="1271" r:id="rId2"/>
    <p:sldId id="1249" r:id="rId3"/>
    <p:sldId id="508" r:id="rId4"/>
    <p:sldId id="1250" r:id="rId5"/>
    <p:sldId id="507" r:id="rId6"/>
    <p:sldId id="1261" r:id="rId7"/>
    <p:sldId id="1252" r:id="rId8"/>
    <p:sldId id="1253" r:id="rId9"/>
    <p:sldId id="1254" r:id="rId10"/>
    <p:sldId id="1255" r:id="rId11"/>
    <p:sldId id="1256" r:id="rId12"/>
    <p:sldId id="1257" r:id="rId13"/>
    <p:sldId id="1258" r:id="rId14"/>
    <p:sldId id="1259" r:id="rId15"/>
    <p:sldId id="493" r:id="rId1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4629"/>
  </p:normalViewPr>
  <p:slideViewPr>
    <p:cSldViewPr snapToGrid="0" snapToObjects="1">
      <p:cViewPr varScale="1">
        <p:scale>
          <a:sx n="90" d="100"/>
          <a:sy n="90" d="100"/>
        </p:scale>
        <p:origin x="232" y="7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6DF348-61BC-814E-ACEC-CF59CB94FE9B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2AFBCA-5CBE-D14E-A710-0E49AA86D2A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34909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7A725A-9256-4EC5-8CDB-4CC5D97770D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094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6BA8B8-C927-8543-B829-11DF9C36E2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625897B-5799-E045-8EF7-F93B0112FB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7F13C23-6717-2648-AD35-B909D98DFC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9CB6FAD-D239-494C-A5AD-2E6414F5FD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95B069A-A206-F24E-B795-9F6833E62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0701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2BF1B7-FD72-E04F-881B-AB33445129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069DE53-9AF4-D840-9863-3EEA0D5536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B34FA02-3027-D642-8004-E7D069B22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6A5E5-1838-BB4E-A781-798A1361E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5631CD1-4041-8840-970C-95A9AAD1B8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1430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2F3BCC4-4791-8A4B-9B35-3188156E2F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3603ED02-DC02-D442-A041-34ECF21271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FF841D1-82CD-4248-AB88-07B56C12AE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D53EDD9-B2D6-2848-B902-3185C1704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540CFF-C8E4-E44A-9D2C-0E25B132BF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0379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AA807A42-CF27-4B84-8583-18EBE418342E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8949" y="347184"/>
            <a:ext cx="11224685" cy="701474"/>
          </a:xfrm>
          <a:prstGeom prst="rect">
            <a:avLst/>
          </a:prstGeom>
        </p:spPr>
        <p:txBody>
          <a:bodyPr/>
          <a:lstStyle>
            <a:lvl1pPr>
              <a:lnSpc>
                <a:spcPts val="2699"/>
              </a:lnSpc>
              <a:defRPr/>
            </a:lvl1pPr>
          </a:lstStyle>
          <a:p>
            <a:r>
              <a:rPr lang="de-DE" dirty="0"/>
              <a:t>HEADLINE DURCH KLICKEN </a:t>
            </a:r>
            <a:r>
              <a:rPr lang="de-DE" dirty="0" err="1"/>
              <a:t>BEARBEITeN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Zweite Zeile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.</a:t>
            </a:r>
          </a:p>
        </p:txBody>
      </p:sp>
      <p:sp>
        <p:nvSpPr>
          <p:cNvPr id="6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488949" y="6425350"/>
            <a:ext cx="9851675" cy="331787"/>
          </a:xfrm>
        </p:spPr>
        <p:txBody>
          <a:bodyPr/>
          <a:lstStyle/>
          <a:p>
            <a:pPr algn="l"/>
            <a:r>
              <a:rPr lang="de-DE"/>
              <a:t>Dr. Marcus Raitner | Agile Transformation und Neue Führung | 15. November 2019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5270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63">
          <p15:clr>
            <a:srgbClr val="FBAE40"/>
          </p15:clr>
        </p15:guide>
        <p15:guide id="2" orient="horz" pos="216">
          <p15:clr>
            <a:srgbClr val="FBAE40"/>
          </p15:clr>
        </p15:guide>
        <p15:guide id="3" orient="horz" pos="888">
          <p15:clr>
            <a:srgbClr val="FBAE40"/>
          </p15:clr>
        </p15:guide>
        <p15:guide id="4" orient="horz" pos="3858">
          <p15:clr>
            <a:srgbClr val="FBAE40"/>
          </p15:clr>
        </p15:guide>
        <p15:guide id="5" orient="horz" pos="4042">
          <p15:clr>
            <a:srgbClr val="FBAE40"/>
          </p15:clr>
        </p15:guide>
        <p15:guide id="6" orient="horz" pos="4260">
          <p15:clr>
            <a:srgbClr val="FBAE40"/>
          </p15:clr>
        </p15:guide>
        <p15:guide id="7" pos="301">
          <p15:clr>
            <a:srgbClr val="FBAE40"/>
          </p15:clr>
        </p15:guide>
        <p15:guide id="8" pos="7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7E87E4A-ED89-4A4B-B3F7-456A6A07C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B4D90E-A229-504F-8BFA-5306151712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782F2B-ED8B-BC4A-B0AA-495900EE08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59DA60-A3CE-8644-B1A1-437F152F4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E0DFE7-6A54-DA4A-9295-8C4408F3F0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0080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965423-0C72-F44B-A911-EC7F3C5E3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B4E4DE4-20E6-C543-9E24-F5C3A6E80D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64CC85B-42F8-574C-BB87-7B41728FCF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EFDA474-7B2C-2C48-B30B-4B902B7F1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9C6015-5C09-3846-A55A-6C834655BC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5120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6C1E37-C06E-DD43-BD36-642231F97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A7E102-D048-BC4F-9A30-6568C6CDE3A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1DF7A9C-1231-734D-A988-C41D2BAEE5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EDFF70F-9067-6347-A42D-422A3CF74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C6954BB-6CB0-414F-8C37-0F3CF5464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D59224-F87B-554D-8458-140CC0CE1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6867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E166D8-AF47-5B4E-9593-9FF1426C66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086F75D-5442-8F41-A87B-473B6420FA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A172BE9-72E6-6242-B222-312DE1C9B6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06A663E-D27F-5E44-9B63-0F5B3F3864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9C2D05D-5EAD-9845-AA30-7068FF06058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9CB180B7-DD3E-3C4F-8D32-A7FA511F8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6D0BFD78-567E-B14E-BBEB-A81F7F50A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3862518-5A86-794F-9605-BB9962624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98110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068858-0A52-D549-8A9B-518D13E85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0B19A8-7C74-4A49-9D12-9639B444E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ADC01E-ED1B-4741-9B5A-67D20F0CC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6B1D23F-0AAC-FE43-868E-AFDD35D51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296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F3C0B36-926C-0143-85CD-0CF1575448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D20A54-07EC-7442-BC50-D143F2E7F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32EF2B-AF03-3F4B-B838-CF178F249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2019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2D779A-C804-0E4A-8D4A-20376E8FB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EED640-842A-0D4C-B0BF-D2CA5B7CC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513A3D-7A3E-CA43-BBCB-192721502D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C25AE7C-18B7-6C4E-B49C-512E3C00F3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1AB16E8-C188-DF40-84CC-7D57AB0E2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BB401F0-A061-AC4D-B884-DEE67AE07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80175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E220348-4DF6-B642-80BD-481C4C033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D165874-EF98-7940-A2FB-4089035EAE3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3CCBF4A-409E-CA45-A7F9-7A92D5BF99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E1D1D34-42C1-AB45-BFC5-C8AA39EDF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7A7AC7C-7855-D446-8B22-08B45D8026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09A2F8A-32C8-9D45-AA07-C1C66C1E8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6627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4481389-8C8A-3C41-B99F-26DCA62A8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5419FC3-B3B4-404A-9F52-2FA7D078D1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F680D5-7157-934E-B1FA-A5D9177E37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20E41A-D854-1D4B-BB9C-BF246174A913}" type="datetimeFigureOut">
              <a:rPr lang="de-DE" smtClean="0"/>
              <a:t>11.12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3C428B-8E6C-4348-862C-9DE6D8CD74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897279F-DE73-E544-82DC-1E6807BADE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5D88AE-4A2A-C540-88A0-ECF997D852E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9068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4.0/deed.de" TargetMode="Externa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11.emf"/><Relationship Id="rId7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9.emf"/><Relationship Id="rId7" Type="http://schemas.openxmlformats.org/officeDocument/2006/relationships/image" Target="../media/image8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9.emf"/><Relationship Id="rId7" Type="http://schemas.openxmlformats.org/officeDocument/2006/relationships/image" Target="../media/image8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emf"/><Relationship Id="rId5" Type="http://schemas.openxmlformats.org/officeDocument/2006/relationships/image" Target="../media/image7.emf"/><Relationship Id="rId4" Type="http://schemas.openxmlformats.org/officeDocument/2006/relationships/image" Target="../media/image10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10.emf"/><Relationship Id="rId7" Type="http://schemas.openxmlformats.org/officeDocument/2006/relationships/image" Target="../media/image9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emf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10.emf"/><Relationship Id="rId7" Type="http://schemas.openxmlformats.org/officeDocument/2006/relationships/image" Target="../media/image9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emf"/><Relationship Id="rId5" Type="http://schemas.openxmlformats.org/officeDocument/2006/relationships/image" Target="../media/image6.emf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creativecommons.org/licenses/by/4.0/deed.de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7.emf"/><Relationship Id="rId7" Type="http://schemas.openxmlformats.org/officeDocument/2006/relationships/image" Target="../media/image10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7.emf"/><Relationship Id="rId7" Type="http://schemas.openxmlformats.org/officeDocument/2006/relationships/image" Target="../media/image10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11.emf"/><Relationship Id="rId4" Type="http://schemas.openxmlformats.org/officeDocument/2006/relationships/image" Target="../media/image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4.0/deed.d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8.emf"/><Relationship Id="rId7" Type="http://schemas.openxmlformats.org/officeDocument/2006/relationships/image" Target="../media/image10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emf"/><Relationship Id="rId5" Type="http://schemas.openxmlformats.org/officeDocument/2006/relationships/image" Target="../media/image9.emf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8.emf"/><Relationship Id="rId7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reativecommons.org/licenses/by/4.0/deed.de" TargetMode="External"/><Relationship Id="rId3" Type="http://schemas.openxmlformats.org/officeDocument/2006/relationships/image" Target="../media/image11.emf"/><Relationship Id="rId7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emf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9B220-F94F-0D43-952B-C0BE1B4B6F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46628" y="1783959"/>
            <a:ext cx="4645250" cy="2889114"/>
          </a:xfrm>
        </p:spPr>
        <p:txBody>
          <a:bodyPr anchor="b">
            <a:normAutofit/>
          </a:bodyPr>
          <a:lstStyle/>
          <a:p>
            <a:pPr algn="l"/>
            <a:r>
              <a:rPr lang="de-DE" sz="4700" dirty="0"/>
              <a:t>Workshop zum Manifest für menschliche Führung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33B65D8-33A9-4E42-B5BA-646BEF0750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46627" y="4750894"/>
            <a:ext cx="4645250" cy="657448"/>
          </a:xfrm>
        </p:spPr>
        <p:txBody>
          <a:bodyPr anchor="t">
            <a:normAutofit/>
          </a:bodyPr>
          <a:lstStyle/>
          <a:p>
            <a:pPr algn="l"/>
            <a:r>
              <a:rPr lang="de-DE" sz="2000" dirty="0"/>
              <a:t>Dr. Marcus Raitner</a:t>
            </a:r>
            <a:br>
              <a:rPr lang="de-DE" sz="2000" dirty="0"/>
            </a:br>
            <a:r>
              <a:rPr lang="de-DE" sz="2000" dirty="0"/>
              <a:t>https://</a:t>
            </a:r>
            <a:r>
              <a:rPr lang="de-DE" sz="2000" dirty="0" err="1"/>
              <a:t>fuehrung-erfahren.de</a:t>
            </a:r>
            <a:endParaRPr lang="de-DE" sz="2000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Bildplatzhalter 12">
            <a:extLst>
              <a:ext uri="{FF2B5EF4-FFF2-40B4-BE49-F238E27FC236}">
                <a16:creationId xmlns:a16="http://schemas.microsoft.com/office/drawing/2014/main" id="{BBCEE69B-827A-E045-8002-F656787B8B8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1" r="9776" b="-1"/>
          <a:stretch/>
        </p:blipFill>
        <p:spPr>
          <a:xfrm>
            <a:off x="20" y="10"/>
            <a:ext cx="6024134" cy="685799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B3146324-6080-CE42-A495-5AC4EB4082A0}"/>
              </a:ext>
            </a:extLst>
          </p:cNvPr>
          <p:cNvSpPr/>
          <p:nvPr/>
        </p:nvSpPr>
        <p:spPr>
          <a:xfrm>
            <a:off x="6746627" y="5864173"/>
            <a:ext cx="4542782" cy="36933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de-DE" sz="2000" dirty="0"/>
              <a:t>Veröffentlicht unter einer </a:t>
            </a:r>
            <a:r>
              <a:rPr lang="de-DE" sz="2000" dirty="0">
                <a:hlinkClick r:id="rId3"/>
              </a:rPr>
              <a:t>CC BY 4.0 Lizenz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3811559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0"/>
          </a:blip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4"/>
            <a:ext cx="6857995" cy="685799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9DAE3F1-6B58-BE4F-9C62-38E9A36C70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A6B381C-8C69-4743-BA51-95611E4DE4A3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5706223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440BE83-0450-1246-904A-387A2727A67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C33C9E6-6B53-9749-8592-1938A3C887A4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7957010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" y="0"/>
            <a:ext cx="6857996" cy="6857996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0191D4-0C9A-0D4E-9D30-D5BE6D8906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12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BCEEF6F-C5EE-B743-9A5E-0B6371AA6983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2640477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445451C-93ED-4947-BC80-CF226FE33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06C6E65-26C3-CC4F-ACDC-DA850EA3FF69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890053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0" y="0"/>
            <a:ext cx="6858000" cy="6858000"/>
          </a:xfrm>
          <a:prstGeom prst="rect">
            <a:avLst/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C46FA8F-00CB-5D4A-A0CE-815A3AA3A5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84D4601-1F07-C240-99DF-7F94D8099309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247037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2A27C2-3D47-5541-AD58-CE51B6036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49" y="347184"/>
            <a:ext cx="9569451" cy="701474"/>
          </a:xfrm>
        </p:spPr>
        <p:txBody>
          <a:bodyPr>
            <a:normAutofit fontScale="90000"/>
          </a:bodyPr>
          <a:lstStyle/>
          <a:p>
            <a:r>
              <a:rPr lang="de-DE" dirty="0"/>
              <a:t>Neue Führung im Zeitalter der Digitalisierung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5D20B35-8F3C-A94E-AFFA-25545CAC6DF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6" r="2996" b="2036"/>
          <a:stretch/>
        </p:blipFill>
        <p:spPr>
          <a:xfrm>
            <a:off x="488950" y="1065501"/>
            <a:ext cx="3981020" cy="554703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9723F34-1719-4848-B09C-2F90D3DD788B}"/>
              </a:ext>
            </a:extLst>
          </p:cNvPr>
          <p:cNvSpPr/>
          <p:nvPr/>
        </p:nvSpPr>
        <p:spPr>
          <a:xfrm>
            <a:off x="5698470" y="1057173"/>
            <a:ext cx="6004581" cy="55553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400" b="1" dirty="0"/>
              <a:t>Entfaltung menschlichen Potentials</a:t>
            </a:r>
          </a:p>
          <a:p>
            <a:pPr algn="ctr"/>
            <a:r>
              <a:rPr lang="de-DE" dirty="0"/>
              <a:t>mehr als Einsatz menschlicher Ressourcen </a:t>
            </a:r>
            <a:endParaRPr lang="de-DE" sz="2400" dirty="0"/>
          </a:p>
          <a:p>
            <a:pPr algn="ctr"/>
            <a:endParaRPr lang="de-DE" sz="1100" b="1" dirty="0"/>
          </a:p>
          <a:p>
            <a:pPr algn="ctr"/>
            <a:r>
              <a:rPr lang="de-DE" sz="2400" b="1" dirty="0"/>
              <a:t>Diversität und Dissens</a:t>
            </a:r>
          </a:p>
          <a:p>
            <a:pPr algn="ctr"/>
            <a:r>
              <a:rPr lang="de-DE" dirty="0"/>
              <a:t>mehr als Konformität und Konsens</a:t>
            </a:r>
          </a:p>
          <a:p>
            <a:pPr algn="ctr"/>
            <a:endParaRPr lang="de-DE" sz="1100" b="1" dirty="0"/>
          </a:p>
          <a:p>
            <a:pPr algn="ctr"/>
            <a:r>
              <a:rPr lang="de-DE" sz="2400" b="1" dirty="0"/>
              <a:t>Sinn und Vertrauen</a:t>
            </a:r>
          </a:p>
          <a:p>
            <a:pPr algn="ctr"/>
            <a:r>
              <a:rPr lang="de-DE" dirty="0"/>
              <a:t>mehr als Anweisung und Kontrolle</a:t>
            </a:r>
            <a:endParaRPr lang="de-DE" sz="2400" dirty="0"/>
          </a:p>
          <a:p>
            <a:pPr algn="ctr"/>
            <a:endParaRPr lang="de-DE" sz="1100" b="1" dirty="0"/>
          </a:p>
          <a:p>
            <a:pPr algn="ctr"/>
            <a:r>
              <a:rPr lang="de-DE" sz="2400" b="1" dirty="0"/>
              <a:t>Beiträge zu Netzwerken</a:t>
            </a:r>
          </a:p>
          <a:p>
            <a:pPr algn="ctr"/>
            <a:r>
              <a:rPr lang="de-DE" dirty="0"/>
              <a:t>mehr als Positionen in Hierarchien</a:t>
            </a:r>
          </a:p>
          <a:p>
            <a:pPr algn="ctr"/>
            <a:endParaRPr lang="de-DE" sz="1100" b="1" dirty="0"/>
          </a:p>
          <a:p>
            <a:pPr algn="ctr"/>
            <a:r>
              <a:rPr lang="de-DE" sz="2400" b="1" dirty="0"/>
              <a:t>Anführer hervorbringen</a:t>
            </a:r>
          </a:p>
          <a:p>
            <a:pPr algn="ctr"/>
            <a:r>
              <a:rPr lang="de-DE" dirty="0"/>
              <a:t>mehr als Anhänger anführen</a:t>
            </a:r>
          </a:p>
          <a:p>
            <a:pPr algn="ctr"/>
            <a:endParaRPr lang="de-DE" sz="1100" b="1" dirty="0"/>
          </a:p>
          <a:p>
            <a:pPr algn="ctr"/>
            <a:r>
              <a:rPr lang="de-DE" sz="2400" b="1" dirty="0"/>
              <a:t>Mutig das Neue erkunden</a:t>
            </a:r>
          </a:p>
          <a:p>
            <a:pPr algn="ctr"/>
            <a:r>
              <a:rPr lang="de-DE" dirty="0"/>
              <a:t>mehr als effizient das Bekannte ausschöpfen</a:t>
            </a:r>
          </a:p>
          <a:p>
            <a:pPr algn="ctr"/>
            <a:endParaRPr lang="de-DE" sz="1600" dirty="0"/>
          </a:p>
          <a:p>
            <a:pPr algn="ctr"/>
            <a:r>
              <a:rPr lang="de-DE" sz="1600" dirty="0"/>
              <a:t>Das heißt, dass auch die Werte unten wichtig sind, wir aber die hervorgehobenen Werte oben höher einschätzen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4D22C72-7F26-254A-B843-8EDC14B0E299}"/>
              </a:ext>
            </a:extLst>
          </p:cNvPr>
          <p:cNvSpPr/>
          <p:nvPr/>
        </p:nvSpPr>
        <p:spPr>
          <a:xfrm rot="16200000">
            <a:off x="1764283" y="3794579"/>
            <a:ext cx="567298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100" dirty="0"/>
              <a:t>Erhältlich als Taschenbuch oder E-Book bei Amazon (DE) oder als E-Book bei </a:t>
            </a:r>
            <a:r>
              <a:rPr lang="de-DE" sz="1100" dirty="0" err="1"/>
              <a:t>Leanpub</a:t>
            </a:r>
            <a:r>
              <a:rPr lang="de-DE" sz="1100" dirty="0"/>
              <a:t> (DE / EN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599E7DC-8847-5A41-88CC-D0645B44A6A8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4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825911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9C415EF6-89C3-264F-8F1B-301E6BAF5D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18" r="9388"/>
          <a:stretch/>
        </p:blipFill>
        <p:spPr>
          <a:xfrm>
            <a:off x="1" y="0"/>
            <a:ext cx="6096000" cy="685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47F3AE11-79FA-BF45-A01F-9A9BD58EC54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7" b="17525"/>
          <a:stretch/>
        </p:blipFill>
        <p:spPr>
          <a:xfrm>
            <a:off x="6096001" y="1"/>
            <a:ext cx="6095999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ED1FD99-13FA-364C-AF9F-0CA72E41E0C3}"/>
              </a:ext>
            </a:extLst>
          </p:cNvPr>
          <p:cNvSpPr/>
          <p:nvPr/>
        </p:nvSpPr>
        <p:spPr>
          <a:xfrm>
            <a:off x="2040466" y="321734"/>
            <a:ext cx="811106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5400" b="1" dirty="0" err="1">
                <a:solidFill>
                  <a:schemeClr val="bg1"/>
                </a:solidFill>
              </a:rPr>
              <a:t>Context</a:t>
            </a:r>
            <a:r>
              <a:rPr lang="de-DE" sz="5400" b="1" dirty="0">
                <a:solidFill>
                  <a:schemeClr val="bg1"/>
                </a:solidFill>
              </a:rPr>
              <a:t> Not Contro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9490E49-F23C-3E4B-8E4A-A95E1DEE2194}"/>
              </a:ext>
            </a:extLst>
          </p:cNvPr>
          <p:cNvSpPr/>
          <p:nvPr/>
        </p:nvSpPr>
        <p:spPr>
          <a:xfrm>
            <a:off x="211668" y="3489278"/>
            <a:ext cx="2717799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bg1"/>
                </a:solidFill>
              </a:rPr>
              <a:t>The </a:t>
            </a:r>
            <a:r>
              <a:rPr lang="de-DE" sz="2400" dirty="0" err="1">
                <a:solidFill>
                  <a:schemeClr val="bg1"/>
                </a:solidFill>
              </a:rPr>
              <a:t>leader’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job</a:t>
            </a:r>
            <a:r>
              <a:rPr lang="de-DE" sz="2400" dirty="0">
                <a:solidFill>
                  <a:schemeClr val="bg1"/>
                </a:solidFill>
              </a:rPr>
              <a:t> at </a:t>
            </a:r>
            <a:r>
              <a:rPr lang="de-DE" sz="2400" dirty="0" err="1">
                <a:solidFill>
                  <a:schemeClr val="bg1"/>
                </a:solidFill>
              </a:rPr>
              <a:t>every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level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i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o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set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clear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context</a:t>
            </a:r>
            <a:r>
              <a:rPr lang="de-DE" sz="2400" dirty="0">
                <a:solidFill>
                  <a:schemeClr val="bg1"/>
                </a:solidFill>
              </a:rPr>
              <a:t> so </a:t>
            </a:r>
            <a:r>
              <a:rPr lang="de-DE" sz="2400" dirty="0" err="1">
                <a:solidFill>
                  <a:schemeClr val="bg1"/>
                </a:solidFill>
              </a:rPr>
              <a:t>that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others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hav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h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right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information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to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make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generally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great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r>
              <a:rPr lang="de-DE" sz="2400" dirty="0" err="1">
                <a:solidFill>
                  <a:schemeClr val="bg1"/>
                </a:solidFill>
              </a:rPr>
              <a:t>decisions</a:t>
            </a:r>
            <a:r>
              <a:rPr lang="de-DE" sz="2400" dirty="0">
                <a:solidFill>
                  <a:schemeClr val="bg1"/>
                </a:solidFill>
              </a:rPr>
              <a:t>.</a:t>
            </a:r>
          </a:p>
          <a:p>
            <a:pPr algn="r"/>
            <a:r>
              <a:rPr lang="de-DE" sz="2400" dirty="0">
                <a:solidFill>
                  <a:schemeClr val="bg1"/>
                </a:solidFill>
              </a:rPr>
              <a:t>– Reed Hastings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5746623-DDC1-8D44-8BDF-923A20F72A7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0000"/>
          <a:stretch/>
        </p:blipFill>
        <p:spPr>
          <a:xfrm>
            <a:off x="9753598" y="0"/>
            <a:ext cx="2438400" cy="35179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C59E371A-17CF-1E44-BE26-38181A78098C}"/>
              </a:ext>
            </a:extLst>
          </p:cNvPr>
          <p:cNvSpPr txBox="1"/>
          <p:nvPr/>
        </p:nvSpPr>
        <p:spPr>
          <a:xfrm>
            <a:off x="6307668" y="5335937"/>
            <a:ext cx="4442108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peop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nk</a:t>
            </a:r>
            <a:r>
              <a:rPr lang="de-DE" dirty="0"/>
              <a:t>, </a:t>
            </a:r>
            <a:r>
              <a:rPr lang="de-DE" dirty="0" err="1"/>
              <a:t>give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intent</a:t>
            </a:r>
            <a:r>
              <a:rPr lang="de-DE" dirty="0"/>
              <a:t>, not </a:t>
            </a:r>
            <a:r>
              <a:rPr lang="de-DE" dirty="0" err="1"/>
              <a:t>instruction</a:t>
            </a:r>
            <a:r>
              <a:rPr lang="de-DE" dirty="0"/>
              <a:t>.</a:t>
            </a:r>
          </a:p>
          <a:p>
            <a:r>
              <a:rPr lang="de-DE" dirty="0"/>
              <a:t>– David </a:t>
            </a:r>
            <a:r>
              <a:rPr lang="de-DE" dirty="0" err="1"/>
              <a:t>Marque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7583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0000"/>
          </a:blip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8999" y="-8"/>
            <a:ext cx="6857999" cy="6857999"/>
          </a:xfrm>
          <a:prstGeom prst="rect">
            <a:avLst/>
          </a:prstGeom>
          <a:solidFill>
            <a:schemeClr val="bg1"/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0B7F1C5-886A-3D4B-80FC-1FC0330B367C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60552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1A15890-3CE3-7941-9503-0F9F305088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4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CE30A7A-7314-FA44-A515-0F038EB1F7DA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525958190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50000"/>
          </a:blip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5"/>
            <a:ext cx="6857995" cy="685799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71217B5-A3E4-BE47-861F-F8CDD8352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/>
            <a:r>
              <a:rPr lang="de-DE" noProof="0"/>
              <a:t>Dr. Marcus Raitner | Agile Transformation und Neue Führung | 15. November 2019</a:t>
            </a:r>
            <a:endParaRPr lang="en-US" noProof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F9DFA6-4986-F946-B6F1-F3A469D314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30E3780-92CD-4948-A114-E0758294CCCF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9278229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D74356DA-BFB5-8B4D-9643-D0CCB55374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42" y="0"/>
            <a:ext cx="12165558" cy="6304547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6358C59-E05B-B54E-AE40-BD1F14DA11BC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3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2063226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5D6B147-A654-2E40-9315-2FDDC00C3F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A7ED5AE-F327-2C43-9008-0AFEC847AE8A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315074004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50000"/>
          </a:blip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50000"/>
          </a:blip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" y="-3"/>
            <a:ext cx="6858003" cy="6858003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22F2DE5-4395-6849-A6F7-64BD8371BF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B3BC096-7630-DA41-BDD6-5BBC733A429A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543548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6399F703-D646-014C-BF90-044DA59F18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8999" y="3428996"/>
            <a:ext cx="3429000" cy="3429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D450B277-5C7F-E447-A649-DAC5BE619D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7999" y="1"/>
            <a:ext cx="3428999" cy="3428999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E432E4-0BED-9C46-8EB3-6A915B5F9D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58000" y="3429000"/>
            <a:ext cx="3429000" cy="3429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F22CBE6-AAF7-574A-8923-4C0114474B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" y="1"/>
            <a:ext cx="3429000" cy="3429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C769C2C-8AFF-FD45-86CE-ADABF13140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28999" y="-3"/>
            <a:ext cx="3429001" cy="342900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A842297-B107-2644-8136-E0C93E5763E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" y="3428999"/>
            <a:ext cx="3429000" cy="34290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6A3FA0-40DA-DE4C-8B4C-B92ABC3187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AA807A42-CF27-4B84-8583-18EBE41834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24C1156-64EE-FE48-AFD7-613CBE9B3B9F}"/>
              </a:ext>
            </a:extLst>
          </p:cNvPr>
          <p:cNvSpPr txBox="1"/>
          <p:nvPr/>
        </p:nvSpPr>
        <p:spPr>
          <a:xfrm rot="16200000">
            <a:off x="8998924" y="3290491"/>
            <a:ext cx="57988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Dr. Marcus Raitner | https://</a:t>
            </a:r>
            <a:r>
              <a:rPr lang="de-DE" sz="1200" dirty="0" err="1"/>
              <a:t>fuehrung-erfahren.de</a:t>
            </a:r>
            <a:r>
              <a:rPr lang="de-DE" sz="1200" dirty="0"/>
              <a:t> | Lizenz: </a:t>
            </a:r>
            <a:r>
              <a:rPr lang="de-DE" sz="1200" dirty="0">
                <a:hlinkClick r:id="rId8"/>
              </a:rPr>
              <a:t>CC BY 4.0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204303193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08</Words>
  <Application>Microsoft Macintosh PowerPoint</Application>
  <PresentationFormat>Breitbild</PresentationFormat>
  <Paragraphs>54</Paragraphs>
  <Slides>1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0" baseType="lpstr">
      <vt:lpstr>Arial</vt:lpstr>
      <vt:lpstr>Calibri</vt:lpstr>
      <vt:lpstr>Calibri Light</vt:lpstr>
      <vt:lpstr>Office</vt:lpstr>
      <vt:lpstr>think-cell Folie</vt:lpstr>
      <vt:lpstr>Workshop zum Manifest für menschliche Führun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Neue Führung im Zeitalter der Digitalisieru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kshop zum Manifest für menschliche Führung</dc:title>
  <dc:creator>Marcus Raitner</dc:creator>
  <cp:lastModifiedBy>Marcus Raitner</cp:lastModifiedBy>
  <cp:revision>3</cp:revision>
  <dcterms:created xsi:type="dcterms:W3CDTF">2019-12-11T13:28:35Z</dcterms:created>
  <dcterms:modified xsi:type="dcterms:W3CDTF">2019-12-11T13:39:41Z</dcterms:modified>
</cp:coreProperties>
</file>